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67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060244-6C90-9543-E2DF-A980AC701A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 &amp; Text Slid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C16504C-6172-B256-3232-23D239EF1136}"/>
              </a:ext>
            </a:extLst>
          </p:cNvPr>
          <p:cNvSpPr/>
          <p:nvPr/>
        </p:nvSpPr>
        <p:spPr>
          <a:xfrm>
            <a:off x="714375" y="1889656"/>
            <a:ext cx="16859250" cy="52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r>
              <a:rPr lang="en-US" sz="2000" b="1" dirty="0"/>
              <a:t>Head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D4AA628-F32D-8FA8-B907-F52AFAC960DB}"/>
              </a:ext>
            </a:extLst>
          </p:cNvPr>
          <p:cNvSpPr/>
          <p:nvPr/>
        </p:nvSpPr>
        <p:spPr>
          <a:xfrm>
            <a:off x="714375" y="2411655"/>
            <a:ext cx="16859250" cy="6824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2000" b="1" dirty="0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btitle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2000" b="1" dirty="0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btitle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2000" b="1" dirty="0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btitle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1B4A7F-D5E1-B24C-8133-81ADFE27E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0875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20</TotalTime>
  <Words>258</Words>
  <Application>Microsoft Office PowerPoint</Application>
  <PresentationFormat>Custom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Title &amp; Text Sli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30</cp:revision>
  <dcterms:created xsi:type="dcterms:W3CDTF">2006-08-16T00:00:00Z</dcterms:created>
  <dcterms:modified xsi:type="dcterms:W3CDTF">2025-10-06T09:24:43Z</dcterms:modified>
  <cp:category/>
  <dc:identifier>DAGkDf5R9EM</dc:identifier>
</cp:coreProperties>
</file>